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9144000" cy="6858000" type="screen4x3"/>
  <p:notesSz cx="6808788" cy="99409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FF6600"/>
    <a:srgbClr val="0B90BF"/>
    <a:srgbClr val="333399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5" d="100"/>
          <a:sy n="105" d="100"/>
        </p:scale>
        <p:origin x="1716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38" y="0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fld id="{5CB71326-5A66-4047-8E6F-466ACF3D2997}" type="datetimeFigureOut">
              <a:rPr lang="ru-RU" smtClean="0"/>
              <a:pPr/>
              <a:t>05.05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70462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80" y="4721940"/>
            <a:ext cx="5447030" cy="4473416"/>
          </a:xfrm>
          <a:prstGeom prst="rect">
            <a:avLst/>
          </a:prstGeom>
        </p:spPr>
        <p:txBody>
          <a:bodyPr vert="horz" lIns="91577" tIns="45789" rIns="91577" bIns="4578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2153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38" y="9442153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fld id="{4D125163-8B83-4ADF-8AB7-6C2FDB91F6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91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71575" y="1244600"/>
            <a:ext cx="4465638" cy="3348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256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5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5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5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62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5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5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5.05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5.05.202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5.05.202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5.05.202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5.05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5.05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05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EAC4781-456F-478B-B0A5-74814EB39A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907" y="1157"/>
          <a:ext cx="851" cy="1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907" y="1157"/>
                        <a:ext cx="851" cy="11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A61ADFC-61B4-422B-BB74-F16AE85C7A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128" y="2"/>
            <a:ext cx="85045" cy="113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70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116963A7-BC97-48B9-8DF6-0262C0929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504" y="142852"/>
            <a:ext cx="8893652" cy="935534"/>
          </a:xfrm>
        </p:spPr>
        <p:txBody>
          <a:bodyPr>
            <a:no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ЙТИНГ МУНИЦИПАЛЬНЫХ ОБРАЗОВАНИЙ ПО УРОВНЮ ОТКРЫТОСТИ БЮДЖЕТНЫХ ДАННЫХ ЗА 2025 ГОД</a:t>
            </a: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id="{A3562278-64DB-48FE-8465-6EA8171C0F4A}"/>
              </a:ext>
            </a:extLst>
          </p:cNvPr>
          <p:cNvSpPr txBox="1">
            <a:spLocks/>
          </p:cNvSpPr>
          <p:nvPr/>
        </p:nvSpPr>
        <p:spPr>
          <a:xfrm>
            <a:off x="8722703" y="6503967"/>
            <a:ext cx="400050" cy="365125"/>
          </a:xfrm>
          <a:prstGeom prst="rect">
            <a:avLst/>
          </a:prstGeom>
        </p:spPr>
        <p:txBody>
          <a:bodyPr vert="horz" lIns="76635" tIns="38318" rIns="76635" bIns="38318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i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b="1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4690361" y="3974648"/>
            <a:ext cx="3818374" cy="1835348"/>
          </a:xfrm>
          <a:prstGeom prst="rect">
            <a:avLst/>
          </a:prstGeom>
        </p:spPr>
        <p:txBody>
          <a:bodyPr wrap="square" lIns="54768" tIns="27384" rIns="54768" bIns="27384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</p:txBody>
      </p:sp>
      <p:sp>
        <p:nvSpPr>
          <p:cNvPr id="11" name="Прямоугольник с двумя скругленными противолежащими углами 10"/>
          <p:cNvSpPr/>
          <p:nvPr/>
        </p:nvSpPr>
        <p:spPr>
          <a:xfrm>
            <a:off x="275059" y="1048004"/>
            <a:ext cx="5290636" cy="4973284"/>
          </a:xfrm>
          <a:prstGeom prst="round2Diag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t" anchorCtr="0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2 МО:</a:t>
            </a:r>
          </a:p>
          <a:p>
            <a:pPr algn="ctr" defTabSz="273071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с двумя скругленными противолежащими углами 18"/>
          <p:cNvSpPr/>
          <p:nvPr/>
        </p:nvSpPr>
        <p:spPr>
          <a:xfrm>
            <a:off x="5841291" y="1048004"/>
            <a:ext cx="2736304" cy="3932373"/>
          </a:xfrm>
          <a:prstGeom prst="round2DiagRect">
            <a:avLst/>
          </a:prstGeom>
          <a:solidFill>
            <a:srgbClr val="FFC000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МО:</a:t>
            </a:r>
          </a:p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ш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з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имуро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льдург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га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чикой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о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нышев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т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лк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7" defTabSz="273071"/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id="{8946903D-030F-4668-A426-4EA5D5D87B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2613877"/>
              </p:ext>
            </p:extLst>
          </p:nvPr>
        </p:nvGraphicFramePr>
        <p:xfrm>
          <a:off x="275060" y="2443251"/>
          <a:ext cx="5290636" cy="28133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2292">
                  <a:extLst>
                    <a:ext uri="{9D8B030D-6E8A-4147-A177-3AD203B41FA5}">
                      <a16:colId xmlns:a16="http://schemas.microsoft.com/office/drawing/2014/main" val="2363133270"/>
                    </a:ext>
                  </a:extLst>
                </a:gridCol>
                <a:gridCol w="2588344">
                  <a:extLst>
                    <a:ext uri="{9D8B030D-6E8A-4147-A177-3AD203B41FA5}">
                      <a16:colId xmlns:a16="http://schemas.microsoft.com/office/drawing/2014/main" val="2932699012"/>
                    </a:ext>
                  </a:extLst>
                </a:gridCol>
              </a:tblGrid>
              <a:tr h="2813397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3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ександрово</a:t>
                      </a:r>
                      <a:r>
                        <a:rPr lang="ru-RU" sz="13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Заводский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лей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байкальский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лар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рым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окаменский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ыри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гойтуй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гочи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ловянни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но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  <a:defRPr/>
                      </a:pPr>
                      <a:r>
                        <a:rPr lang="ru-RU" sz="13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тровск-Забайкальский</a:t>
                      </a:r>
                      <a:r>
                        <a:rPr lang="ru-RU" sz="125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аргунский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тенский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нгокоче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нгиро-Олёкми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лётовский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елопуги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илок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. Агинское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. Чита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. Горный ЗАТО</a:t>
                      </a:r>
                    </a:p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0363259"/>
                  </a:ext>
                </a:extLst>
              </a:tr>
            </a:tbl>
          </a:graphicData>
        </a:graphic>
      </p:graphicFrame>
      <p:sp>
        <p:nvSpPr>
          <p:cNvPr id="14" name="Прямоугольник с двумя скругленными противолежащими углами 16">
            <a:extLst>
              <a:ext uri="{FF2B5EF4-FFF2-40B4-BE49-F238E27FC236}">
                <a16:creationId xmlns:a16="http://schemas.microsoft.com/office/drawing/2014/main" id="{87F62651-9D85-4EF9-B2BE-E5443B743FBD}"/>
              </a:ext>
            </a:extLst>
          </p:cNvPr>
          <p:cNvSpPr/>
          <p:nvPr/>
        </p:nvSpPr>
        <p:spPr>
          <a:xfrm>
            <a:off x="5565695" y="5256648"/>
            <a:ext cx="3436581" cy="1058743"/>
          </a:xfrm>
          <a:prstGeom prst="round2DiagRect">
            <a:avLst/>
          </a:prstGeom>
          <a:solidFill>
            <a:srgbClr val="FF3300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 МО</a:t>
            </a:r>
          </a:p>
        </p:txBody>
      </p:sp>
    </p:spTree>
    <p:extLst>
      <p:ext uri="{BB962C8B-B14F-4D97-AF65-F5344CB8AC3E}">
        <p14:creationId xmlns:p14="http://schemas.microsoft.com/office/powerpoint/2010/main" val="2064422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nPXHhtzp9iA99fNcWy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70</TotalTime>
  <Words>71</Words>
  <Application>Microsoft Office PowerPoint</Application>
  <PresentationFormat>Экран (4:3)</PresentationFormat>
  <Paragraphs>56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Тема Office</vt:lpstr>
      <vt:lpstr>think-cell Slide</vt:lpstr>
      <vt:lpstr>РЕЙТИНГ МУНИЦИПАЛЬНЫХ ОБРАЗОВАНИЙ ПО УРОВНЮ ОТКРЫТОСТИ БЮДЖЕТНЫХ ДАННЫХ ЗА 2025 ГОД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ЙТИНГ УРОВНЯ ОТКРЫТОСТИ БЮДЖЕТНЫХ ДАННЫХ МУНИЦИПАЛЬНЫХ ОБРАЗОВАНИЙ ЗА 2021</dc:title>
  <dc:creator>Макарова Дарья Сергеевна</dc:creator>
  <cp:lastModifiedBy>Горбунова Ольга Ивановна</cp:lastModifiedBy>
  <cp:revision>32</cp:revision>
  <cp:lastPrinted>2025-08-13T00:29:23Z</cp:lastPrinted>
  <dcterms:created xsi:type="dcterms:W3CDTF">2022-06-27T05:53:54Z</dcterms:created>
  <dcterms:modified xsi:type="dcterms:W3CDTF">2026-05-05T01:22:34Z</dcterms:modified>
</cp:coreProperties>
</file>